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9" r:id="rId2"/>
    <p:sldId id="261" r:id="rId3"/>
  </p:sldIdLst>
  <p:sldSz cx="12192000" cy="6858000"/>
  <p:notesSz cx="6858000" cy="9144000"/>
  <p:custDataLst>
    <p:tags r:id="rId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E9948DC-AB60-4845-9CDC-362CFD7EF798}" v="76" dt="2024-05-27T16:01:05.88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925" autoAdjust="0"/>
    <p:restoredTop sz="94660"/>
  </p:normalViewPr>
  <p:slideViewPr>
    <p:cSldViewPr snapToGrid="0">
      <p:cViewPr varScale="1">
        <p:scale>
          <a:sx n="76" d="100"/>
          <a:sy n="76" d="100"/>
        </p:scale>
        <p:origin x="376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10" Type="http://schemas.microsoft.com/office/2015/10/relationships/revisionInfo" Target="revisionInfo.xml"/><Relationship Id="rId4" Type="http://schemas.openxmlformats.org/officeDocument/2006/relationships/tags" Target="tags/tag1.xml"/><Relationship Id="rId9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bbasi, Mohammad Mansour" userId="eca1080c-6524-4df3-b22b-819af0b6cc67" providerId="ADAL" clId="{3E9948DC-AB60-4845-9CDC-362CFD7EF798}"/>
    <pc:docChg chg="undo custSel addSld delSld modSld replTag">
      <pc:chgData name="Abbasi, Mohammad Mansour" userId="eca1080c-6524-4df3-b22b-819af0b6cc67" providerId="ADAL" clId="{3E9948DC-AB60-4845-9CDC-362CFD7EF798}" dt="2024-05-27T16:01:09.385" v="2552" actId="1037"/>
      <pc:docMkLst>
        <pc:docMk/>
      </pc:docMkLst>
      <pc:sldChg chg="del">
        <pc:chgData name="Abbasi, Mohammad Mansour" userId="eca1080c-6524-4df3-b22b-819af0b6cc67" providerId="ADAL" clId="{3E9948DC-AB60-4845-9CDC-362CFD7EF798}" dt="2024-05-27T12:25:19.902" v="21" actId="47"/>
        <pc:sldMkLst>
          <pc:docMk/>
          <pc:sldMk cId="3363514524" sldId="257"/>
        </pc:sldMkLst>
      </pc:sldChg>
      <pc:sldChg chg="del">
        <pc:chgData name="Abbasi, Mohammad Mansour" userId="eca1080c-6524-4df3-b22b-819af0b6cc67" providerId="ADAL" clId="{3E9948DC-AB60-4845-9CDC-362CFD7EF798}" dt="2024-05-27T12:25:21.585" v="22" actId="47"/>
        <pc:sldMkLst>
          <pc:docMk/>
          <pc:sldMk cId="3283950062" sldId="258"/>
        </pc:sldMkLst>
      </pc:sldChg>
      <pc:sldChg chg="addSp delSp modSp mod">
        <pc:chgData name="Abbasi, Mohammad Mansour" userId="eca1080c-6524-4df3-b22b-819af0b6cc67" providerId="ADAL" clId="{3E9948DC-AB60-4845-9CDC-362CFD7EF798}" dt="2024-05-27T16:01:09.385" v="2552" actId="1037"/>
        <pc:sldMkLst>
          <pc:docMk/>
          <pc:sldMk cId="1225205393" sldId="259"/>
        </pc:sldMkLst>
        <pc:spChg chg="add mod">
          <ac:chgData name="Abbasi, Mohammad Mansour" userId="eca1080c-6524-4df3-b22b-819af0b6cc67" providerId="ADAL" clId="{3E9948DC-AB60-4845-9CDC-362CFD7EF798}" dt="2024-05-27T15:59:02.056" v="2412" actId="947"/>
          <ac:spMkLst>
            <pc:docMk/>
            <pc:sldMk cId="1225205393" sldId="259"/>
            <ac:spMk id="15" creationId="{F91B6AE8-2951-6E0A-8A55-CCEE6DEAA9C0}"/>
          </ac:spMkLst>
        </pc:spChg>
        <pc:spChg chg="add del mod">
          <ac:chgData name="Abbasi, Mohammad Mansour" userId="eca1080c-6524-4df3-b22b-819af0b6cc67" providerId="ADAL" clId="{3E9948DC-AB60-4845-9CDC-362CFD7EF798}" dt="2024-05-27T12:45:48.618" v="61" actId="478"/>
          <ac:spMkLst>
            <pc:docMk/>
            <pc:sldMk cId="1225205393" sldId="259"/>
            <ac:spMk id="22" creationId="{8C33BD9B-73AE-E669-B20C-E0EE4704E8E1}"/>
          </ac:spMkLst>
        </pc:spChg>
        <pc:spChg chg="add mod">
          <ac:chgData name="Abbasi, Mohammad Mansour" userId="eca1080c-6524-4df3-b22b-819af0b6cc67" providerId="ADAL" clId="{3E9948DC-AB60-4845-9CDC-362CFD7EF798}" dt="2024-05-27T15:59:14.767" v="2418" actId="313"/>
          <ac:spMkLst>
            <pc:docMk/>
            <pc:sldMk cId="1225205393" sldId="259"/>
            <ac:spMk id="23" creationId="{8DA10A20-1F02-1E16-4639-C1A2EAC290B1}"/>
          </ac:spMkLst>
        </pc:spChg>
        <pc:spChg chg="add mod">
          <ac:chgData name="Abbasi, Mohammad Mansour" userId="eca1080c-6524-4df3-b22b-819af0b6cc67" providerId="ADAL" clId="{3E9948DC-AB60-4845-9CDC-362CFD7EF798}" dt="2024-05-27T15:59:02.056" v="2410" actId="947"/>
          <ac:spMkLst>
            <pc:docMk/>
            <pc:sldMk cId="1225205393" sldId="259"/>
            <ac:spMk id="24" creationId="{F76575E8-F92F-A9F6-962B-3564A6010287}"/>
          </ac:spMkLst>
        </pc:spChg>
        <pc:spChg chg="add mod">
          <ac:chgData name="Abbasi, Mohammad Mansour" userId="eca1080c-6524-4df3-b22b-819af0b6cc67" providerId="ADAL" clId="{3E9948DC-AB60-4845-9CDC-362CFD7EF798}" dt="2024-05-27T15:59:02.056" v="2408" actId="947"/>
          <ac:spMkLst>
            <pc:docMk/>
            <pc:sldMk cId="1225205393" sldId="259"/>
            <ac:spMk id="25" creationId="{DC89780F-BB7E-AD28-5751-944CF96FBCD9}"/>
          </ac:spMkLst>
        </pc:spChg>
        <pc:spChg chg="add mod">
          <ac:chgData name="Abbasi, Mohammad Mansour" userId="eca1080c-6524-4df3-b22b-819af0b6cc67" providerId="ADAL" clId="{3E9948DC-AB60-4845-9CDC-362CFD7EF798}" dt="2024-05-27T16:00:35.617" v="2472" actId="1038"/>
          <ac:spMkLst>
            <pc:docMk/>
            <pc:sldMk cId="1225205393" sldId="259"/>
            <ac:spMk id="26" creationId="{A46DE2D9-A87C-7AB7-3A50-82D507D197DD}"/>
          </ac:spMkLst>
        </pc:spChg>
        <pc:spChg chg="add mod">
          <ac:chgData name="Abbasi, Mohammad Mansour" userId="eca1080c-6524-4df3-b22b-819af0b6cc67" providerId="ADAL" clId="{3E9948DC-AB60-4845-9CDC-362CFD7EF798}" dt="2024-05-27T16:00:48.067" v="2495" actId="1038"/>
          <ac:spMkLst>
            <pc:docMk/>
            <pc:sldMk cId="1225205393" sldId="259"/>
            <ac:spMk id="27" creationId="{F50B14CF-1C74-57AD-8ECA-9E04CABC4D33}"/>
          </ac:spMkLst>
        </pc:spChg>
        <pc:spChg chg="add mod">
          <ac:chgData name="Abbasi, Mohammad Mansour" userId="eca1080c-6524-4df3-b22b-819af0b6cc67" providerId="ADAL" clId="{3E9948DC-AB60-4845-9CDC-362CFD7EF798}" dt="2024-05-27T16:00:57.857" v="2524" actId="1037"/>
          <ac:spMkLst>
            <pc:docMk/>
            <pc:sldMk cId="1225205393" sldId="259"/>
            <ac:spMk id="28" creationId="{ED4F2BA8-015D-B209-8311-1EBF19CB30D4}"/>
          </ac:spMkLst>
        </pc:spChg>
        <pc:spChg chg="add mod">
          <ac:chgData name="Abbasi, Mohammad Mansour" userId="eca1080c-6524-4df3-b22b-819af0b6cc67" providerId="ADAL" clId="{3E9948DC-AB60-4845-9CDC-362CFD7EF798}" dt="2024-05-27T16:01:09.385" v="2552" actId="1037"/>
          <ac:spMkLst>
            <pc:docMk/>
            <pc:sldMk cId="1225205393" sldId="259"/>
            <ac:spMk id="29" creationId="{1EA20D07-C1DF-961F-F698-279C893CD9E6}"/>
          </ac:spMkLst>
        </pc:spChg>
        <pc:grpChg chg="add mod">
          <ac:chgData name="Abbasi, Mohammad Mansour" userId="eca1080c-6524-4df3-b22b-819af0b6cc67" providerId="ADAL" clId="{3E9948DC-AB60-4845-9CDC-362CFD7EF798}" dt="2024-05-27T15:45:25.577" v="1585" actId="571"/>
          <ac:grpSpMkLst>
            <pc:docMk/>
            <pc:sldMk cId="1225205393" sldId="259"/>
            <ac:grpSpMk id="16" creationId="{31965998-F0B3-63D6-F02F-D7B49E0A3A02}"/>
          </ac:grpSpMkLst>
        </pc:grpChg>
        <pc:graphicFrameChg chg="mod">
          <ac:chgData name="Abbasi, Mohammad Mansour" userId="eca1080c-6524-4df3-b22b-819af0b6cc67" providerId="ADAL" clId="{3E9948DC-AB60-4845-9CDC-362CFD7EF798}" dt="2024-05-27T15:59:02.566" v="2416"/>
          <ac:graphicFrameMkLst>
            <pc:docMk/>
            <pc:sldMk cId="1225205393" sldId="259"/>
            <ac:graphicFrameMk id="12" creationId="{5B860080-FE40-A095-4F6A-856F0DADFF08}"/>
          </ac:graphicFrameMkLst>
        </pc:graphicFrameChg>
        <pc:picChg chg="del">
          <ac:chgData name="Abbasi, Mohammad Mansour" userId="eca1080c-6524-4df3-b22b-819af0b6cc67" providerId="ADAL" clId="{3E9948DC-AB60-4845-9CDC-362CFD7EF798}" dt="2024-05-27T11:07:53.038" v="0" actId="478"/>
          <ac:picMkLst>
            <pc:docMk/>
            <pc:sldMk cId="1225205393" sldId="259"/>
            <ac:picMk id="7" creationId="{44B6FD8B-C611-4825-6AA2-2338C9D40ECB}"/>
          </ac:picMkLst>
        </pc:picChg>
        <pc:picChg chg="add mod">
          <ac:chgData name="Abbasi, Mohammad Mansour" userId="eca1080c-6524-4df3-b22b-819af0b6cc67" providerId="ADAL" clId="{3E9948DC-AB60-4845-9CDC-362CFD7EF798}" dt="2024-05-27T15:45:03.163" v="1572" actId="1076"/>
          <ac:picMkLst>
            <pc:docMk/>
            <pc:sldMk cId="1225205393" sldId="259"/>
            <ac:picMk id="8" creationId="{04F78AE4-F4A1-8D0F-F071-B99E563715CA}"/>
          </ac:picMkLst>
        </pc:picChg>
        <pc:picChg chg="add mod">
          <ac:chgData name="Abbasi, Mohammad Mansour" userId="eca1080c-6524-4df3-b22b-819af0b6cc67" providerId="ADAL" clId="{3E9948DC-AB60-4845-9CDC-362CFD7EF798}" dt="2024-05-27T12:25:32.418" v="24" actId="1076"/>
          <ac:picMkLst>
            <pc:docMk/>
            <pc:sldMk cId="1225205393" sldId="259"/>
            <ac:picMk id="1028" creationId="{B83E12F6-C63A-91BB-772E-5CEFB4BCA0B3}"/>
          </ac:picMkLst>
        </pc:picChg>
        <pc:picChg chg="add mod">
          <ac:chgData name="Abbasi, Mohammad Mansour" userId="eca1080c-6524-4df3-b22b-819af0b6cc67" providerId="ADAL" clId="{3E9948DC-AB60-4845-9CDC-362CFD7EF798}" dt="2024-05-27T15:45:25.577" v="1585" actId="571"/>
          <ac:picMkLst>
            <pc:docMk/>
            <pc:sldMk cId="1225205393" sldId="259"/>
            <ac:picMk id="1030" creationId="{F59EED97-25DD-C8EF-7FBB-03EC8305D328}"/>
          </ac:picMkLst>
        </pc:picChg>
        <pc:cxnChg chg="add mod">
          <ac:chgData name="Abbasi, Mohammad Mansour" userId="eca1080c-6524-4df3-b22b-819af0b6cc67" providerId="ADAL" clId="{3E9948DC-AB60-4845-9CDC-362CFD7EF798}" dt="2024-05-27T12:43:02.783" v="31" actId="1582"/>
          <ac:cxnSpMkLst>
            <pc:docMk/>
            <pc:sldMk cId="1225205393" sldId="259"/>
            <ac:cxnSpMk id="10" creationId="{044FD3DD-9B01-4064-F535-7CDB6F0F3A1D}"/>
          </ac:cxnSpMkLst>
        </pc:cxnChg>
        <pc:cxnChg chg="add mod">
          <ac:chgData name="Abbasi, Mohammad Mansour" userId="eca1080c-6524-4df3-b22b-819af0b6cc67" providerId="ADAL" clId="{3E9948DC-AB60-4845-9CDC-362CFD7EF798}" dt="2024-05-27T12:43:18.971" v="33"/>
          <ac:cxnSpMkLst>
            <pc:docMk/>
            <pc:sldMk cId="1225205393" sldId="259"/>
            <ac:cxnSpMk id="11" creationId="{2F43501D-C81B-AC8B-2413-A633D3FDA184}"/>
          </ac:cxnSpMkLst>
        </pc:cxnChg>
        <pc:cxnChg chg="add mod">
          <ac:chgData name="Abbasi, Mohammad Mansour" userId="eca1080c-6524-4df3-b22b-819af0b6cc67" providerId="ADAL" clId="{3E9948DC-AB60-4845-9CDC-362CFD7EF798}" dt="2024-05-27T12:43:36.031" v="36" actId="1037"/>
          <ac:cxnSpMkLst>
            <pc:docMk/>
            <pc:sldMk cId="1225205393" sldId="259"/>
            <ac:cxnSpMk id="13" creationId="{9A439BB6-7318-CC14-0A80-02625EEE4DD0}"/>
          </ac:cxnSpMkLst>
        </pc:cxnChg>
        <pc:cxnChg chg="add mod">
          <ac:chgData name="Abbasi, Mohammad Mansour" userId="eca1080c-6524-4df3-b22b-819af0b6cc67" providerId="ADAL" clId="{3E9948DC-AB60-4845-9CDC-362CFD7EF798}" dt="2024-05-27T12:43:26.415" v="34" actId="571"/>
          <ac:cxnSpMkLst>
            <pc:docMk/>
            <pc:sldMk cId="1225205393" sldId="259"/>
            <ac:cxnSpMk id="14" creationId="{9ADF9604-424D-D0B4-A45D-D72C45F162CD}"/>
          </ac:cxnSpMkLst>
        </pc:cxnChg>
        <pc:cxnChg chg="add mod">
          <ac:chgData name="Abbasi, Mohammad Mansour" userId="eca1080c-6524-4df3-b22b-819af0b6cc67" providerId="ADAL" clId="{3E9948DC-AB60-4845-9CDC-362CFD7EF798}" dt="2024-05-27T12:46:19.643" v="75" actId="1035"/>
          <ac:cxnSpMkLst>
            <pc:docMk/>
            <pc:sldMk cId="1225205393" sldId="259"/>
            <ac:cxnSpMk id="18" creationId="{B56BA691-20B9-ADDF-4DEA-596023501CFB}"/>
          </ac:cxnSpMkLst>
        </pc:cxnChg>
      </pc:sldChg>
      <pc:sldChg chg="add del">
        <pc:chgData name="Abbasi, Mohammad Mansour" userId="eca1080c-6524-4df3-b22b-819af0b6cc67" providerId="ADAL" clId="{3E9948DC-AB60-4845-9CDC-362CFD7EF798}" dt="2024-05-27T15:43:30.877" v="1358" actId="47"/>
        <pc:sldMkLst>
          <pc:docMk/>
          <pc:sldMk cId="1211669990" sldId="260"/>
        </pc:sldMkLst>
      </pc:sldChg>
      <pc:sldChg chg="addSp delSp modSp add mod">
        <pc:chgData name="Abbasi, Mohammad Mansour" userId="eca1080c-6524-4df3-b22b-819af0b6cc67" providerId="ADAL" clId="{3E9948DC-AB60-4845-9CDC-362CFD7EF798}" dt="2024-05-27T16:00:04.210" v="2447" actId="313"/>
        <pc:sldMkLst>
          <pc:docMk/>
          <pc:sldMk cId="923741012" sldId="261"/>
        </pc:sldMkLst>
        <pc:spChg chg="add mod topLvl">
          <ac:chgData name="Abbasi, Mohammad Mansour" userId="eca1080c-6524-4df3-b22b-819af0b6cc67" providerId="ADAL" clId="{3E9948DC-AB60-4845-9CDC-362CFD7EF798}" dt="2024-05-27T15:59:39.536" v="2422" actId="947"/>
          <ac:spMkLst>
            <pc:docMk/>
            <pc:sldMk cId="923741012" sldId="261"/>
            <ac:spMk id="3" creationId="{F50A4C32-A313-9995-6574-FF439E5FAAE0}"/>
          </ac:spMkLst>
        </pc:spChg>
        <pc:spChg chg="add mod">
          <ac:chgData name="Abbasi, Mohammad Mansour" userId="eca1080c-6524-4df3-b22b-819af0b6cc67" providerId="ADAL" clId="{3E9948DC-AB60-4845-9CDC-362CFD7EF798}" dt="2024-05-27T15:59:39.551" v="2426" actId="947"/>
          <ac:spMkLst>
            <pc:docMk/>
            <pc:sldMk cId="923741012" sldId="261"/>
            <ac:spMk id="9" creationId="{3BFEBC22-DB7D-18F5-C7DF-DEA8CDA5FEAC}"/>
          </ac:spMkLst>
        </pc:spChg>
        <pc:spChg chg="mod topLvl">
          <ac:chgData name="Abbasi, Mohammad Mansour" userId="eca1080c-6524-4df3-b22b-819af0b6cc67" providerId="ADAL" clId="{3E9948DC-AB60-4845-9CDC-362CFD7EF798}" dt="2024-05-27T15:59:39.536" v="2420" actId="947"/>
          <ac:spMkLst>
            <pc:docMk/>
            <pc:sldMk cId="923741012" sldId="261"/>
            <ac:spMk id="15" creationId="{F91B6AE8-2951-6E0A-8A55-CCEE6DEAA9C0}"/>
          </ac:spMkLst>
        </pc:spChg>
        <pc:spChg chg="mod">
          <ac:chgData name="Abbasi, Mohammad Mansour" userId="eca1080c-6524-4df3-b22b-819af0b6cc67" providerId="ADAL" clId="{3E9948DC-AB60-4845-9CDC-362CFD7EF798}" dt="2024-05-27T15:59:48.457" v="2444" actId="313"/>
          <ac:spMkLst>
            <pc:docMk/>
            <pc:sldMk cId="923741012" sldId="261"/>
            <ac:spMk id="23" creationId="{8DA10A20-1F02-1E16-4639-C1A2EAC290B1}"/>
          </ac:spMkLst>
        </pc:spChg>
        <pc:spChg chg="add mod">
          <ac:chgData name="Abbasi, Mohammad Mansour" userId="eca1080c-6524-4df3-b22b-819af0b6cc67" providerId="ADAL" clId="{3E9948DC-AB60-4845-9CDC-362CFD7EF798}" dt="2024-05-27T15:59:39.551" v="2428" actId="947"/>
          <ac:spMkLst>
            <pc:docMk/>
            <pc:sldMk cId="923741012" sldId="261"/>
            <ac:spMk id="41" creationId="{A4C5D7A8-33E7-4E33-FDF3-305EF52F6FCA}"/>
          </ac:spMkLst>
        </pc:spChg>
        <pc:spChg chg="add mod">
          <ac:chgData name="Abbasi, Mohammad Mansour" userId="eca1080c-6524-4df3-b22b-819af0b6cc67" providerId="ADAL" clId="{3E9948DC-AB60-4845-9CDC-362CFD7EF798}" dt="2024-05-27T15:59:39.551" v="2430" actId="947"/>
          <ac:spMkLst>
            <pc:docMk/>
            <pc:sldMk cId="923741012" sldId="261"/>
            <ac:spMk id="42" creationId="{C26E5C86-A73E-6E7B-91F9-7A9D4F4D53AB}"/>
          </ac:spMkLst>
        </pc:spChg>
        <pc:spChg chg="add mod">
          <ac:chgData name="Abbasi, Mohammad Mansour" userId="eca1080c-6524-4df3-b22b-819af0b6cc67" providerId="ADAL" clId="{3E9948DC-AB60-4845-9CDC-362CFD7EF798}" dt="2024-05-27T15:59:39.567" v="2432" actId="947"/>
          <ac:spMkLst>
            <pc:docMk/>
            <pc:sldMk cId="923741012" sldId="261"/>
            <ac:spMk id="43" creationId="{502DFFFC-8CD9-0BF1-B1E7-B90683678A93}"/>
          </ac:spMkLst>
        </pc:spChg>
        <pc:spChg chg="add mod">
          <ac:chgData name="Abbasi, Mohammad Mansour" userId="eca1080c-6524-4df3-b22b-819af0b6cc67" providerId="ADAL" clId="{3E9948DC-AB60-4845-9CDC-362CFD7EF798}" dt="2024-05-27T15:59:59.129" v="2446" actId="313"/>
          <ac:spMkLst>
            <pc:docMk/>
            <pc:sldMk cId="923741012" sldId="261"/>
            <ac:spMk id="44" creationId="{ACA40B6C-19D6-C502-40E6-EE3F525AD65B}"/>
          </ac:spMkLst>
        </pc:spChg>
        <pc:spChg chg="add mod">
          <ac:chgData name="Abbasi, Mohammad Mansour" userId="eca1080c-6524-4df3-b22b-819af0b6cc67" providerId="ADAL" clId="{3E9948DC-AB60-4845-9CDC-362CFD7EF798}" dt="2024-05-27T15:52:54.638" v="1844" actId="571"/>
          <ac:spMkLst>
            <pc:docMk/>
            <pc:sldMk cId="923741012" sldId="261"/>
            <ac:spMk id="45" creationId="{70062A37-21B5-29A5-4F5A-0BF0B2C797B6}"/>
          </ac:spMkLst>
        </pc:spChg>
        <pc:spChg chg="add mod">
          <ac:chgData name="Abbasi, Mohammad Mansour" userId="eca1080c-6524-4df3-b22b-819af0b6cc67" providerId="ADAL" clId="{3E9948DC-AB60-4845-9CDC-362CFD7EF798}" dt="2024-05-27T15:59:57.136" v="2445" actId="313"/>
          <ac:spMkLst>
            <pc:docMk/>
            <pc:sldMk cId="923741012" sldId="261"/>
            <ac:spMk id="47" creationId="{D3A00D14-4CCB-EAEC-4746-13E12E9A16A1}"/>
          </ac:spMkLst>
        </pc:spChg>
        <pc:spChg chg="add mod">
          <ac:chgData name="Abbasi, Mohammad Mansour" userId="eca1080c-6524-4df3-b22b-819af0b6cc67" providerId="ADAL" clId="{3E9948DC-AB60-4845-9CDC-362CFD7EF798}" dt="2024-05-27T16:00:04.210" v="2447" actId="313"/>
          <ac:spMkLst>
            <pc:docMk/>
            <pc:sldMk cId="923741012" sldId="261"/>
            <ac:spMk id="49" creationId="{B68361C7-78FF-0093-0775-2C1F5BE804C4}"/>
          </ac:spMkLst>
        </pc:spChg>
        <pc:grpChg chg="add mod">
          <ac:chgData name="Abbasi, Mohammad Mansour" userId="eca1080c-6524-4df3-b22b-819af0b6cc67" providerId="ADAL" clId="{3E9948DC-AB60-4845-9CDC-362CFD7EF798}" dt="2024-05-27T15:49:31.053" v="1656" actId="1076"/>
          <ac:grpSpMkLst>
            <pc:docMk/>
            <pc:sldMk cId="923741012" sldId="261"/>
            <ac:grpSpMk id="4" creationId="{EFF58270-6746-391F-37AB-1B290B908FC6}"/>
          </ac:grpSpMkLst>
        </pc:grpChg>
        <pc:grpChg chg="del mod">
          <ac:chgData name="Abbasi, Mohammad Mansour" userId="eca1080c-6524-4df3-b22b-819af0b6cc67" providerId="ADAL" clId="{3E9948DC-AB60-4845-9CDC-362CFD7EF798}" dt="2024-05-27T15:45:48.449" v="1607" actId="165"/>
          <ac:grpSpMkLst>
            <pc:docMk/>
            <pc:sldMk cId="923741012" sldId="261"/>
            <ac:grpSpMk id="16" creationId="{31965998-F0B3-63D6-F02F-D7B49E0A3A02}"/>
          </ac:grpSpMkLst>
        </pc:grpChg>
        <pc:graphicFrameChg chg="mod">
          <ac:chgData name="Abbasi, Mohammad Mansour" userId="eca1080c-6524-4df3-b22b-819af0b6cc67" providerId="ADAL" clId="{3E9948DC-AB60-4845-9CDC-362CFD7EF798}" dt="2024-05-27T15:59:40.092" v="2442"/>
          <ac:graphicFrameMkLst>
            <pc:docMk/>
            <pc:sldMk cId="923741012" sldId="261"/>
            <ac:graphicFrameMk id="12" creationId="{5B860080-FE40-A095-4F6A-856F0DADFF08}"/>
          </ac:graphicFrameMkLst>
        </pc:graphicFrameChg>
        <pc:picChg chg="mod topLvl">
          <ac:chgData name="Abbasi, Mohammad Mansour" userId="eca1080c-6524-4df3-b22b-819af0b6cc67" providerId="ADAL" clId="{3E9948DC-AB60-4845-9CDC-362CFD7EF798}" dt="2024-05-27T15:49:31.053" v="1656" actId="1076"/>
          <ac:picMkLst>
            <pc:docMk/>
            <pc:sldMk cId="923741012" sldId="261"/>
            <ac:picMk id="1030" creationId="{F59EED97-25DD-C8EF-7FBB-03EC8305D328}"/>
          </ac:picMkLst>
        </pc:picChg>
        <pc:picChg chg="add mod">
          <ac:chgData name="Abbasi, Mohammad Mansour" userId="eca1080c-6524-4df3-b22b-819af0b6cc67" providerId="ADAL" clId="{3E9948DC-AB60-4845-9CDC-362CFD7EF798}" dt="2024-05-27T15:50:26.477" v="1672" actId="1076"/>
          <ac:picMkLst>
            <pc:docMk/>
            <pc:sldMk cId="923741012" sldId="261"/>
            <ac:picMk id="2050" creationId="{934F223E-B378-0439-C0A8-BC9B1FBD76AF}"/>
          </ac:picMkLst>
        </pc:picChg>
        <pc:cxnChg chg="del mod">
          <ac:chgData name="Abbasi, Mohammad Mansour" userId="eca1080c-6524-4df3-b22b-819af0b6cc67" providerId="ADAL" clId="{3E9948DC-AB60-4845-9CDC-362CFD7EF798}" dt="2024-05-27T15:53:04.914" v="1865" actId="478"/>
          <ac:cxnSpMkLst>
            <pc:docMk/>
            <pc:sldMk cId="923741012" sldId="261"/>
            <ac:cxnSpMk id="10" creationId="{044FD3DD-9B01-4064-F535-7CDB6F0F3A1D}"/>
          </ac:cxnSpMkLst>
        </pc:cxnChg>
        <pc:cxnChg chg="mod">
          <ac:chgData name="Abbasi, Mohammad Mansour" userId="eca1080c-6524-4df3-b22b-819af0b6cc67" providerId="ADAL" clId="{3E9948DC-AB60-4845-9CDC-362CFD7EF798}" dt="2024-05-27T15:49:54.940" v="1664" actId="1038"/>
          <ac:cxnSpMkLst>
            <pc:docMk/>
            <pc:sldMk cId="923741012" sldId="261"/>
            <ac:cxnSpMk id="11" creationId="{2F43501D-C81B-AC8B-2413-A633D3FDA184}"/>
          </ac:cxnSpMkLst>
        </pc:cxnChg>
        <pc:cxnChg chg="mod">
          <ac:chgData name="Abbasi, Mohammad Mansour" userId="eca1080c-6524-4df3-b22b-819af0b6cc67" providerId="ADAL" clId="{3E9948DC-AB60-4845-9CDC-362CFD7EF798}" dt="2024-05-27T15:50:24.542" v="1671" actId="14100"/>
          <ac:cxnSpMkLst>
            <pc:docMk/>
            <pc:sldMk cId="923741012" sldId="261"/>
            <ac:cxnSpMk id="13" creationId="{9A439BB6-7318-CC14-0A80-02625EEE4DD0}"/>
          </ac:cxnSpMkLst>
        </pc:cxnChg>
        <pc:cxnChg chg="mod">
          <ac:chgData name="Abbasi, Mohammad Mansour" userId="eca1080c-6524-4df3-b22b-819af0b6cc67" providerId="ADAL" clId="{3E9948DC-AB60-4845-9CDC-362CFD7EF798}" dt="2024-05-27T15:50:19.230" v="1670" actId="14100"/>
          <ac:cxnSpMkLst>
            <pc:docMk/>
            <pc:sldMk cId="923741012" sldId="261"/>
            <ac:cxnSpMk id="14" creationId="{9ADF9604-424D-D0B4-A45D-D72C45F162CD}"/>
          </ac:cxnSpMkLst>
        </pc:cxnChg>
        <pc:cxnChg chg="mod">
          <ac:chgData name="Abbasi, Mohammad Mansour" userId="eca1080c-6524-4df3-b22b-819af0b6cc67" providerId="ADAL" clId="{3E9948DC-AB60-4845-9CDC-362CFD7EF798}" dt="2024-05-27T15:54:33.803" v="1913" actId="1076"/>
          <ac:cxnSpMkLst>
            <pc:docMk/>
            <pc:sldMk cId="923741012" sldId="261"/>
            <ac:cxnSpMk id="18" creationId="{B56BA691-20B9-ADDF-4DEA-596023501CFB}"/>
          </ac:cxnSpMkLst>
        </pc:cxnChg>
        <pc:cxnChg chg="add mod">
          <ac:chgData name="Abbasi, Mohammad Mansour" userId="eca1080c-6524-4df3-b22b-819af0b6cc67" providerId="ADAL" clId="{3E9948DC-AB60-4845-9CDC-362CFD7EF798}" dt="2024-05-27T15:50:38.758" v="1673" actId="571"/>
          <ac:cxnSpMkLst>
            <pc:docMk/>
            <pc:sldMk cId="923741012" sldId="261"/>
            <ac:cxnSpMk id="38" creationId="{E882C533-D7DF-698F-2972-561D90C31FB9}"/>
          </ac:cxnSpMkLst>
        </pc:cxnChg>
        <pc:cxnChg chg="add del mod">
          <ac:chgData name="Abbasi, Mohammad Mansour" userId="eca1080c-6524-4df3-b22b-819af0b6cc67" providerId="ADAL" clId="{3E9948DC-AB60-4845-9CDC-362CFD7EF798}" dt="2024-05-27T15:53:04.914" v="1865" actId="478"/>
          <ac:cxnSpMkLst>
            <pc:docMk/>
            <pc:sldMk cId="923741012" sldId="261"/>
            <ac:cxnSpMk id="39" creationId="{66A8869E-0C8B-448E-DBFC-5126E97B5A37}"/>
          </ac:cxnSpMkLst>
        </pc:cxnChg>
        <pc:cxnChg chg="add del mod">
          <ac:chgData name="Abbasi, Mohammad Mansour" userId="eca1080c-6524-4df3-b22b-819af0b6cc67" providerId="ADAL" clId="{3E9948DC-AB60-4845-9CDC-362CFD7EF798}" dt="2024-05-27T15:52:07.997" v="1725" actId="478"/>
          <ac:cxnSpMkLst>
            <pc:docMk/>
            <pc:sldMk cId="923741012" sldId="261"/>
            <ac:cxnSpMk id="40" creationId="{564105F7-87A6-D952-5071-F58BE9B28C66}"/>
          </ac:cxnSpMkLst>
        </pc:cxnChg>
        <pc:cxnChg chg="add mod">
          <ac:chgData name="Abbasi, Mohammad Mansour" userId="eca1080c-6524-4df3-b22b-819af0b6cc67" providerId="ADAL" clId="{3E9948DC-AB60-4845-9CDC-362CFD7EF798}" dt="2024-05-27T15:53:21.354" v="1868" actId="1037"/>
          <ac:cxnSpMkLst>
            <pc:docMk/>
            <pc:sldMk cId="923741012" sldId="261"/>
            <ac:cxnSpMk id="46" creationId="{CB3D343A-4FC6-5E6D-395A-495C83CA45FD}"/>
          </ac:cxnSpMkLst>
        </pc:cxnChg>
        <pc:cxnChg chg="add mod">
          <ac:chgData name="Abbasi, Mohammad Mansour" userId="eca1080c-6524-4df3-b22b-819af0b6cc67" providerId="ADAL" clId="{3E9948DC-AB60-4845-9CDC-362CFD7EF798}" dt="2024-05-27T15:54:03.628" v="1910" actId="14100"/>
          <ac:cxnSpMkLst>
            <pc:docMk/>
            <pc:sldMk cId="923741012" sldId="261"/>
            <ac:cxnSpMk id="48" creationId="{09517E05-DB6B-B9D5-489B-394BD6C8D341}"/>
          </ac:cxnSpMkLst>
        </pc:cxnChg>
      </pc:sld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07ECD75-C2AD-4D21-B5B1-4A9B58B4D69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42E0E4E-0A26-58E9-EDA3-DDFA955DFC3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5E3B198-8564-4E87-3FE6-22D52D8DEA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2CE5F6-9639-42A3-AA0D-DF59A24EF953}" type="datetimeFigureOut">
              <a:rPr lang="en-US" smtClean="0"/>
              <a:t>5/30/2024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FAB4E4D-6E70-1C2B-33B5-EC3EFADF91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A0DC0CF-1C9A-A410-6BC1-6075838933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895C1F-F2FD-46DE-9B60-1B2D3380BBD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8180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CF7985-9642-B397-7123-A5C65789AC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FCD7AC2A-28C5-49DB-AA9E-6692E3F7AAF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EA8D8EB-C704-8DA6-87F5-7B2B5EED7A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2CE5F6-9639-42A3-AA0D-DF59A24EF953}" type="datetimeFigureOut">
              <a:rPr lang="en-US" smtClean="0"/>
              <a:t>5/30/2024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F75E048-5728-992B-84DC-67B88EEB52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7D41D79-AA4E-3F5F-8579-A0163C56E0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895C1F-F2FD-46DE-9B60-1B2D3380BBD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841102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DD2813FB-3972-BFF8-0E53-382379EACBA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E10A7FA6-2A7E-4523-CFD6-5CBE94A06E3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5118337-9237-9C7A-868E-9EDB251649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2CE5F6-9639-42A3-AA0D-DF59A24EF953}" type="datetimeFigureOut">
              <a:rPr lang="en-US" smtClean="0"/>
              <a:t>5/30/2024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057DE38-4C3B-DB10-D818-2F7D1540DE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40AF49D-78A2-C59C-FB3A-2868CD21C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895C1F-F2FD-46DE-9B60-1B2D3380BBD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59906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32D96C6-7C4D-E114-882A-2182044C93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B5C43A7-C324-236F-8A9B-E5E120CBB52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B98572A-D260-002B-1C8D-DE5F351383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2CE5F6-9639-42A3-AA0D-DF59A24EF953}" type="datetimeFigureOut">
              <a:rPr lang="en-US" smtClean="0"/>
              <a:t>5/30/2024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E60F2B2-E2C2-36A8-32BB-077AAD6DA1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E089292-28CF-33CC-EE9D-EBD864BB0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895C1F-F2FD-46DE-9B60-1B2D3380BBD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90134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54EEE4A-EE0E-D3D5-A0E5-37F0BE9C82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F5DAB9C-EC37-7E90-A44C-0440B732011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90F9FAB-CDCC-D909-8178-2F0FBF4B70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2CE5F6-9639-42A3-AA0D-DF59A24EF953}" type="datetimeFigureOut">
              <a:rPr lang="en-US" smtClean="0"/>
              <a:t>5/30/2024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E9C5A11-1E32-EE55-D5E3-D901DDAA60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AE87993-1898-3668-7124-62E764DF6C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895C1F-F2FD-46DE-9B60-1B2D3380BBD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69230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724AD2-7AD1-643E-1CCD-E4E88A7085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C23935D-FDFF-9ACE-8445-D8B1DCC2A29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771DAAD-B23E-24F9-EB36-AA50CB9BA3F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6E8F39E-0973-2835-4CCC-C57E49FB35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2CE5F6-9639-42A3-AA0D-DF59A24EF953}" type="datetimeFigureOut">
              <a:rPr lang="en-US" smtClean="0"/>
              <a:t>5/30/2024</a:t>
            </a:fld>
            <a:endParaRPr lang="en-US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2ED4036-9885-9FBD-9326-0B590E1E2B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9BDAC82-7571-5BF7-4663-9F4BA48808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895C1F-F2FD-46DE-9B60-1B2D3380BBD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90619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156E85A-24E6-9613-9AC3-C2AAB48B6F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51D7C59-88FB-D154-E9AB-2875D948A5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D6A5C491-6C25-E2EF-D53F-66B8E6DDB46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58F19AB-6E7B-5091-7C08-631DD325B32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5CA2531A-D257-E8C9-5528-2188444265F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4D678C6-6271-8B40-3F1D-7DC37B6A86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2CE5F6-9639-42A3-AA0D-DF59A24EF953}" type="datetimeFigureOut">
              <a:rPr lang="en-US" smtClean="0"/>
              <a:t>5/30/2024</a:t>
            </a:fld>
            <a:endParaRPr lang="en-US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7C4B1FB4-7B74-EC18-46BC-A315EABD1A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13B1AADB-7829-77DB-DD26-AD1F9D646E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895C1F-F2FD-46DE-9B60-1B2D3380BBD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721422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4F20FC1-5E4E-B5D7-280A-322CF46F4B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CE1B6AB-2BCD-3A44-4333-78B0C741A4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2CE5F6-9639-42A3-AA0D-DF59A24EF953}" type="datetimeFigureOut">
              <a:rPr lang="en-US" smtClean="0"/>
              <a:t>5/30/2024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A84E956-D454-4725-8301-7ABA292CAE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C7E6915-CE56-80D3-C81B-F1765D0395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895C1F-F2FD-46DE-9B60-1B2D3380BBD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480648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545B693-5DC7-11E0-F6E9-A52290DC6D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2CE5F6-9639-42A3-AA0D-DF59A24EF953}" type="datetimeFigureOut">
              <a:rPr lang="en-US" smtClean="0"/>
              <a:t>5/30/2024</a:t>
            </a:fld>
            <a:endParaRPr lang="en-US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0555A65-9646-8032-5AFF-73D6902CE6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66C4983-0B7E-B7F0-4557-B7EE5BDC8F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895C1F-F2FD-46DE-9B60-1B2D3380BBD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0493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024C9B-F33B-5689-9426-CFE5BE89E6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57F9712-8AC6-DDA5-FB38-EE758887D72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EB375CB-A3B8-9438-07E7-B05BD78FABA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C3CDAB3-5393-3ACF-1C22-95D171DFC0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2CE5F6-9639-42A3-AA0D-DF59A24EF953}" type="datetimeFigureOut">
              <a:rPr lang="en-US" smtClean="0"/>
              <a:t>5/30/2024</a:t>
            </a:fld>
            <a:endParaRPr lang="en-US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38A9E9C-FA18-AD2D-CC7F-40ADCE1D8E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CA53DB2-16EF-BE8A-B09A-F6D3E33AE3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895C1F-F2FD-46DE-9B60-1B2D3380BBD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738744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A27E6DB-618A-C0CF-9D4D-60A81B97A8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85602608-4F56-8CB3-0F8B-E6AEFD86B4A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2157672-87BF-F2DC-9D2B-226CE599E71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3CEB08AB-95B0-E023-7B89-03B41F16BE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2CE5F6-9639-42A3-AA0D-DF59A24EF953}" type="datetimeFigureOut">
              <a:rPr lang="en-US" smtClean="0"/>
              <a:t>5/30/2024</a:t>
            </a:fld>
            <a:endParaRPr lang="en-US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7C8DE3B-8C33-6B15-094A-ADF6418A32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E4D746A-3ADF-6E59-DC77-DC94B75474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895C1F-F2FD-46DE-9B60-1B2D3380BBD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57430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B316B50F-7EC3-47FA-5FDC-D63A92C8E0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8145882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395" imgH="394" progId="TCLayout.ActiveDocument.1">
                  <p:embed/>
                </p:oleObj>
              </mc:Choice>
              <mc:Fallback>
                <p:oleObj name="think-cell Folie" r:id="rId14" imgW="395" imgH="39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316B50F-7EC3-47FA-5FDC-D63A92C8E0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AFCFA7A9-41C3-25A3-2FE9-321E4D1C32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EF68DDE-F1CB-6CEA-E670-BC9E61FFB97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78329DB-C80B-1FB5-12E2-62EC1EF5107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2CE5F6-9639-42A3-AA0D-DF59A24EF953}" type="datetimeFigureOut">
              <a:rPr lang="en-US" smtClean="0"/>
              <a:t>5/30/2024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91482D2-16B7-1315-AF8B-C417F5C988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F5E60EA-AD50-A8C5-39C1-76B5C7C341F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D895C1F-F2FD-46DE-9B60-1B2D3380BBD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35322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5B860080-FE40-A095-4F6A-856F0DADFF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5391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B860080-FE40-A095-4F6A-856F0DADFF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8" name="Picture 4">
            <a:extLst>
              <a:ext uri="{FF2B5EF4-FFF2-40B4-BE49-F238E27FC236}">
                <a16:creationId xmlns:a16="http://schemas.microsoft.com/office/drawing/2014/main" id="{B83E12F6-C63A-91BB-772E-5CEFB4BCA0B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798" r="17731"/>
          <a:stretch/>
        </p:blipFill>
        <p:spPr bwMode="auto">
          <a:xfrm>
            <a:off x="1463980" y="980498"/>
            <a:ext cx="896881" cy="8482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>
            <a:extLst>
              <a:ext uri="{FF2B5EF4-FFF2-40B4-BE49-F238E27FC236}">
                <a16:creationId xmlns:a16="http://schemas.microsoft.com/office/drawing/2014/main" id="{04F78AE4-F4A1-8D0F-F071-B99E563715C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798" r="17731"/>
          <a:stretch/>
        </p:blipFill>
        <p:spPr bwMode="auto">
          <a:xfrm>
            <a:off x="9831139" y="980499"/>
            <a:ext cx="896881" cy="8482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044FD3DD-9B01-4064-F535-7CDB6F0F3A1D}"/>
              </a:ext>
            </a:extLst>
          </p:cNvPr>
          <p:cNvCxnSpPr/>
          <p:nvPr/>
        </p:nvCxnSpPr>
        <p:spPr>
          <a:xfrm flipH="1">
            <a:off x="2250692" y="1277957"/>
            <a:ext cx="3048421" cy="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2F43501D-C81B-AC8B-2413-A633D3FDA184}"/>
              </a:ext>
            </a:extLst>
          </p:cNvPr>
          <p:cNvCxnSpPr/>
          <p:nvPr/>
        </p:nvCxnSpPr>
        <p:spPr>
          <a:xfrm flipH="1">
            <a:off x="2250692" y="1564395"/>
            <a:ext cx="3048421" cy="0"/>
          </a:xfrm>
          <a:prstGeom prst="straightConnector1">
            <a:avLst/>
          </a:prstGeom>
          <a:ln w="28575"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9A439BB6-7318-CC14-0A80-02625EEE4DD0}"/>
              </a:ext>
            </a:extLst>
          </p:cNvPr>
          <p:cNvCxnSpPr/>
          <p:nvPr/>
        </p:nvCxnSpPr>
        <p:spPr>
          <a:xfrm flipH="1">
            <a:off x="6760684" y="1277957"/>
            <a:ext cx="3048421" cy="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9ADF9604-424D-D0B4-A45D-D72C45F162CD}"/>
              </a:ext>
            </a:extLst>
          </p:cNvPr>
          <p:cNvCxnSpPr/>
          <p:nvPr/>
        </p:nvCxnSpPr>
        <p:spPr>
          <a:xfrm flipH="1">
            <a:off x="6782718" y="1564395"/>
            <a:ext cx="3048421" cy="0"/>
          </a:xfrm>
          <a:prstGeom prst="straightConnector1">
            <a:avLst/>
          </a:prstGeom>
          <a:ln w="28575"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31965998-F0B3-63D6-F02F-D7B49E0A3A02}"/>
              </a:ext>
            </a:extLst>
          </p:cNvPr>
          <p:cNvGrpSpPr/>
          <p:nvPr/>
        </p:nvGrpSpPr>
        <p:grpSpPr>
          <a:xfrm>
            <a:off x="1200856" y="980498"/>
            <a:ext cx="9457674" cy="1076625"/>
            <a:chOff x="1255941" y="980498"/>
            <a:chExt cx="9457674" cy="1076625"/>
          </a:xfrm>
        </p:grpSpPr>
        <p:pic>
          <p:nvPicPr>
            <p:cNvPr id="1030" name="Picture 6" descr="Computer Logo PNGs for Free Download">
              <a:extLst>
                <a:ext uri="{FF2B5EF4-FFF2-40B4-BE49-F238E27FC236}">
                  <a16:creationId xmlns:a16="http://schemas.microsoft.com/office/drawing/2014/main" id="{F59EED97-25DD-C8EF-7FBB-03EC8305D32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87003" y="980498"/>
              <a:ext cx="1217993" cy="90501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5" name="Textfeld 14">
              <a:extLst>
                <a:ext uri="{FF2B5EF4-FFF2-40B4-BE49-F238E27FC236}">
                  <a16:creationId xmlns:a16="http://schemas.microsoft.com/office/drawing/2014/main" id="{F91B6AE8-2951-6E0A-8A55-CCEE6DEAA9C0}"/>
                </a:ext>
              </a:extLst>
            </p:cNvPr>
            <p:cNvSpPr txBox="1"/>
            <p:nvPr/>
          </p:nvSpPr>
          <p:spPr>
            <a:xfrm>
              <a:off x="5699201" y="1195063"/>
              <a:ext cx="72334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dirty="0" err="1">
                  <a:solidFill>
                    <a:srgbClr val="FF0000"/>
                  </a:solidFill>
                </a:rPr>
                <a:t>PyRIT</a:t>
              </a:r>
              <a:endParaRPr lang="en-US" b="1" dirty="0">
                <a:solidFill>
                  <a:srgbClr val="FF0000"/>
                </a:solidFill>
              </a:endParaRPr>
            </a:p>
          </p:txBody>
        </p:sp>
        <p:sp>
          <p:nvSpPr>
            <p:cNvPr id="24" name="Textfeld 23">
              <a:extLst>
                <a:ext uri="{FF2B5EF4-FFF2-40B4-BE49-F238E27FC236}">
                  <a16:creationId xmlns:a16="http://schemas.microsoft.com/office/drawing/2014/main" id="{F76575E8-F92F-A9F6-962B-3564A6010287}"/>
                </a:ext>
              </a:extLst>
            </p:cNvPr>
            <p:cNvSpPr txBox="1"/>
            <p:nvPr/>
          </p:nvSpPr>
          <p:spPr>
            <a:xfrm>
              <a:off x="9722253" y="1749346"/>
              <a:ext cx="99136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b="1" dirty="0">
                  <a:solidFill>
                    <a:srgbClr val="0070C0"/>
                  </a:solidFill>
                </a:rPr>
                <a:t>Target LLM</a:t>
              </a:r>
            </a:p>
          </p:txBody>
        </p:sp>
        <p:sp>
          <p:nvSpPr>
            <p:cNvPr id="25" name="Textfeld 24">
              <a:extLst>
                <a:ext uri="{FF2B5EF4-FFF2-40B4-BE49-F238E27FC236}">
                  <a16:creationId xmlns:a16="http://schemas.microsoft.com/office/drawing/2014/main" id="{DC89780F-BB7E-AD28-5751-944CF96FBCD9}"/>
                </a:ext>
              </a:extLst>
            </p:cNvPr>
            <p:cNvSpPr txBox="1"/>
            <p:nvPr/>
          </p:nvSpPr>
          <p:spPr>
            <a:xfrm>
              <a:off x="1255941" y="1749346"/>
              <a:ext cx="1156214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b="1" dirty="0">
                  <a:solidFill>
                    <a:srgbClr val="0070C0"/>
                  </a:solidFill>
                </a:rPr>
                <a:t>Attacker LLM</a:t>
              </a:r>
            </a:p>
          </p:txBody>
        </p:sp>
      </p:grp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B56BA691-20B9-ADDF-4DEA-596023501CFB}"/>
              </a:ext>
            </a:extLst>
          </p:cNvPr>
          <p:cNvCxnSpPr>
            <a:cxnSpLocks/>
          </p:cNvCxnSpPr>
          <p:nvPr/>
        </p:nvCxnSpPr>
        <p:spPr>
          <a:xfrm>
            <a:off x="1608463" y="2280491"/>
            <a:ext cx="8978747" cy="0"/>
          </a:xfrm>
          <a:prstGeom prst="line">
            <a:avLst/>
          </a:prstGeom>
          <a:ln w="285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hteck: diagonal liegende Ecken abgerundet 22">
            <a:extLst>
              <a:ext uri="{FF2B5EF4-FFF2-40B4-BE49-F238E27FC236}">
                <a16:creationId xmlns:a16="http://schemas.microsoft.com/office/drawing/2014/main" id="{8DA10A20-1F02-1E16-4639-C1A2EAC290B1}"/>
              </a:ext>
            </a:extLst>
          </p:cNvPr>
          <p:cNvSpPr/>
          <p:nvPr/>
        </p:nvSpPr>
        <p:spPr>
          <a:xfrm>
            <a:off x="1463980" y="2732185"/>
            <a:ext cx="9123230" cy="3578855"/>
          </a:xfrm>
          <a:prstGeom prst="round2DiagRect">
            <a:avLst>
              <a:gd name="adj1" fmla="val 6201"/>
              <a:gd name="adj2" fmla="val 0"/>
            </a:avLst>
          </a:prstGeom>
          <a:solidFill>
            <a:schemeClr val="bg2">
              <a:lumMod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r>
              <a:rPr lang="en-US" dirty="0">
                <a:solidFill>
                  <a:sysClr val="windowText" lastClr="000000"/>
                </a:solidFill>
              </a:rPr>
              <a:t>Task_01: </a:t>
            </a:r>
          </a:p>
          <a:p>
            <a:r>
              <a:rPr lang="en-US" dirty="0">
                <a:solidFill>
                  <a:sysClr val="windowText" lastClr="000000"/>
                </a:solidFill>
              </a:rPr>
              <a:t>1- Please setup Azure </a:t>
            </a:r>
            <a:r>
              <a:rPr lang="en-US" dirty="0" err="1">
                <a:solidFill>
                  <a:sysClr val="windowText" lastClr="000000"/>
                </a:solidFill>
              </a:rPr>
              <a:t>PyRIT</a:t>
            </a:r>
            <a:r>
              <a:rPr lang="en-US" dirty="0">
                <a:solidFill>
                  <a:sysClr val="windowText" lastClr="000000"/>
                </a:solidFill>
              </a:rPr>
              <a:t> framework on your personal computer and simulate a flow that enables two </a:t>
            </a:r>
            <a:r>
              <a:rPr lang="en-US" dirty="0" err="1">
                <a:solidFill>
                  <a:sysClr val="windowText" lastClr="000000"/>
                </a:solidFill>
              </a:rPr>
              <a:t>ChatBots</a:t>
            </a:r>
            <a:r>
              <a:rPr lang="en-US" dirty="0">
                <a:solidFill>
                  <a:sysClr val="windowText" lastClr="000000"/>
                </a:solidFill>
              </a:rPr>
              <a:t> communicating with each other based on a pre-defined Target Objective. </a:t>
            </a:r>
          </a:p>
          <a:p>
            <a:pPr marL="342900" indent="-342900">
              <a:buAutoNum type="alphaUcParenR"/>
            </a:pPr>
            <a:r>
              <a:rPr lang="en-US" dirty="0">
                <a:solidFill>
                  <a:sysClr val="windowText" lastClr="000000"/>
                </a:solidFill>
              </a:rPr>
              <a:t>In this flow, you are simulating one chatbot as attacker chatbot which automatically generates prompts which will be injected to the target chatbot. </a:t>
            </a:r>
          </a:p>
          <a:p>
            <a:pPr marL="342900" indent="-342900">
              <a:buAutoNum type="alphaUcParenR"/>
            </a:pPr>
            <a:r>
              <a:rPr lang="en-US" dirty="0">
                <a:solidFill>
                  <a:sysClr val="windowText" lastClr="000000"/>
                </a:solidFill>
              </a:rPr>
              <a:t>The second simulated chatbot is the target chatbot that answers to the prompts which are injected by the attacker chatbot. </a:t>
            </a:r>
          </a:p>
          <a:p>
            <a:r>
              <a:rPr lang="en-US" dirty="0">
                <a:solidFill>
                  <a:sysClr val="windowText" lastClr="000000"/>
                </a:solidFill>
              </a:rPr>
              <a:t>Note: if you don‘t have access to any Azure OpenAI “</a:t>
            </a:r>
            <a:r>
              <a:rPr lang="en-US" dirty="0" err="1">
                <a:solidFill>
                  <a:sysClr val="windowText" lastClr="000000"/>
                </a:solidFill>
              </a:rPr>
              <a:t>EndPoint</a:t>
            </a:r>
            <a:r>
              <a:rPr lang="en-US" dirty="0">
                <a:solidFill>
                  <a:sysClr val="windowText" lastClr="000000"/>
                </a:solidFill>
              </a:rPr>
              <a:t>“ and “API Key“ please just show how the scripts for such a flow will be looking like. </a:t>
            </a:r>
          </a:p>
          <a:p>
            <a:r>
              <a:rPr lang="en-US" dirty="0">
                <a:solidFill>
                  <a:sysClr val="windowText" lastClr="000000"/>
                </a:solidFill>
              </a:rPr>
              <a:t>Please refer to the following link to access the </a:t>
            </a:r>
            <a:r>
              <a:rPr lang="en-US" dirty="0" err="1">
                <a:solidFill>
                  <a:sysClr val="windowText" lastClr="000000"/>
                </a:solidFill>
              </a:rPr>
              <a:t>PyRIT‘s</a:t>
            </a:r>
            <a:r>
              <a:rPr lang="en-US" dirty="0">
                <a:solidFill>
                  <a:sysClr val="windowText" lastClr="000000"/>
                </a:solidFill>
              </a:rPr>
              <a:t> </a:t>
            </a:r>
            <a:r>
              <a:rPr lang="en-US" dirty="0" err="1">
                <a:solidFill>
                  <a:sysClr val="windowText" lastClr="000000"/>
                </a:solidFill>
              </a:rPr>
              <a:t>github</a:t>
            </a:r>
            <a:r>
              <a:rPr lang="en-US" dirty="0">
                <a:solidFill>
                  <a:sysClr val="windowText" lastClr="000000"/>
                </a:solidFill>
              </a:rPr>
              <a:t> account. </a:t>
            </a:r>
          </a:p>
          <a:p>
            <a:r>
              <a:rPr lang="en-US" dirty="0">
                <a:solidFill>
                  <a:sysClr val="windowText" lastClr="000000"/>
                </a:solidFill>
              </a:rPr>
              <a:t>https://github.com/Azure/PyRIT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A46DE2D9-A87C-7AB7-3A50-82D507D197DD}"/>
              </a:ext>
            </a:extLst>
          </p:cNvPr>
          <p:cNvSpPr txBox="1"/>
          <p:nvPr/>
        </p:nvSpPr>
        <p:spPr>
          <a:xfrm>
            <a:off x="3129818" y="1287396"/>
            <a:ext cx="137935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>
                <a:solidFill>
                  <a:srgbClr val="0070C0"/>
                </a:solidFill>
              </a:rPr>
              <a:t>Prompt generated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F50B14CF-1C74-57AD-8ECA-9E04CABC4D33}"/>
              </a:ext>
            </a:extLst>
          </p:cNvPr>
          <p:cNvSpPr txBox="1"/>
          <p:nvPr/>
        </p:nvSpPr>
        <p:spPr>
          <a:xfrm>
            <a:off x="7361076" y="1287396"/>
            <a:ext cx="178638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>
                <a:solidFill>
                  <a:srgbClr val="0070C0"/>
                </a:solidFill>
              </a:rPr>
              <a:t>Prompt send to </a:t>
            </a:r>
            <a:r>
              <a:rPr lang="en-US" sz="1200" b="1" dirty="0" err="1">
                <a:solidFill>
                  <a:srgbClr val="0070C0"/>
                </a:solidFill>
              </a:rPr>
              <a:t>chaptbot</a:t>
            </a:r>
            <a:endParaRPr lang="en-US" sz="1200" b="1" dirty="0">
              <a:solidFill>
                <a:srgbClr val="0070C0"/>
              </a:solidFill>
            </a:endParaRP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ED4F2BA8-015D-B209-8311-1EBF19CB30D4}"/>
              </a:ext>
            </a:extLst>
          </p:cNvPr>
          <p:cNvSpPr txBox="1"/>
          <p:nvPr/>
        </p:nvSpPr>
        <p:spPr>
          <a:xfrm>
            <a:off x="3063501" y="971061"/>
            <a:ext cx="148059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>
                <a:solidFill>
                  <a:srgbClr val="0070C0"/>
                </a:solidFill>
              </a:rPr>
              <a:t>Answer sent to </a:t>
            </a:r>
            <a:r>
              <a:rPr lang="en-US" sz="1200" b="1" dirty="0" err="1">
                <a:solidFill>
                  <a:srgbClr val="0070C0"/>
                </a:solidFill>
              </a:rPr>
              <a:t>pyrit</a:t>
            </a:r>
            <a:endParaRPr lang="en-US" sz="1200" b="1" dirty="0">
              <a:solidFill>
                <a:srgbClr val="0070C0"/>
              </a:solidFill>
            </a:endParaRP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1EA20D07-C1DF-961F-F698-279C893CD9E6}"/>
              </a:ext>
            </a:extLst>
          </p:cNvPr>
          <p:cNvSpPr txBox="1"/>
          <p:nvPr/>
        </p:nvSpPr>
        <p:spPr>
          <a:xfrm>
            <a:off x="7168578" y="971061"/>
            <a:ext cx="228902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>
                <a:solidFill>
                  <a:srgbClr val="0070C0"/>
                </a:solidFill>
              </a:rPr>
              <a:t>Prompt answered by the chatbot</a:t>
            </a:r>
          </a:p>
        </p:txBody>
      </p:sp>
    </p:spTree>
    <p:extLst>
      <p:ext uri="{BB962C8B-B14F-4D97-AF65-F5344CB8AC3E}">
        <p14:creationId xmlns:p14="http://schemas.microsoft.com/office/powerpoint/2010/main" val="12252053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5B860080-FE40-A095-4F6A-856F0DADFF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95937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B860080-FE40-A095-4F6A-856F0DADFF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8" name="Picture 4">
            <a:extLst>
              <a:ext uri="{FF2B5EF4-FFF2-40B4-BE49-F238E27FC236}">
                <a16:creationId xmlns:a16="http://schemas.microsoft.com/office/drawing/2014/main" id="{B83E12F6-C63A-91BB-772E-5CEFB4BCA0B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798" r="17731"/>
          <a:stretch/>
        </p:blipFill>
        <p:spPr bwMode="auto">
          <a:xfrm>
            <a:off x="1463980" y="980498"/>
            <a:ext cx="896881" cy="8482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>
            <a:extLst>
              <a:ext uri="{FF2B5EF4-FFF2-40B4-BE49-F238E27FC236}">
                <a16:creationId xmlns:a16="http://schemas.microsoft.com/office/drawing/2014/main" id="{04F78AE4-F4A1-8D0F-F071-B99E563715C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798" r="17731"/>
          <a:stretch/>
        </p:blipFill>
        <p:spPr bwMode="auto">
          <a:xfrm>
            <a:off x="9831139" y="980499"/>
            <a:ext cx="896881" cy="8482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2F43501D-C81B-AC8B-2413-A633D3FDA184}"/>
              </a:ext>
            </a:extLst>
          </p:cNvPr>
          <p:cNvCxnSpPr>
            <a:cxnSpLocks/>
          </p:cNvCxnSpPr>
          <p:nvPr/>
        </p:nvCxnSpPr>
        <p:spPr>
          <a:xfrm flipH="1" flipV="1">
            <a:off x="2283743" y="1564395"/>
            <a:ext cx="1493860" cy="16935"/>
          </a:xfrm>
          <a:prstGeom prst="straightConnector1">
            <a:avLst/>
          </a:prstGeom>
          <a:ln w="28575"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9A439BB6-7318-CC14-0A80-02625EEE4DD0}"/>
              </a:ext>
            </a:extLst>
          </p:cNvPr>
          <p:cNvCxnSpPr>
            <a:cxnSpLocks/>
          </p:cNvCxnSpPr>
          <p:nvPr/>
        </p:nvCxnSpPr>
        <p:spPr>
          <a:xfrm flipH="1">
            <a:off x="8053330" y="1277957"/>
            <a:ext cx="1755775" cy="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9ADF9604-424D-D0B4-A45D-D72C45F162CD}"/>
              </a:ext>
            </a:extLst>
          </p:cNvPr>
          <p:cNvCxnSpPr>
            <a:cxnSpLocks/>
          </p:cNvCxnSpPr>
          <p:nvPr/>
        </p:nvCxnSpPr>
        <p:spPr>
          <a:xfrm flipH="1">
            <a:off x="8053330" y="1564395"/>
            <a:ext cx="1777809" cy="0"/>
          </a:xfrm>
          <a:prstGeom prst="straightConnector1">
            <a:avLst/>
          </a:prstGeom>
          <a:ln w="28575"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EFF58270-6746-391F-37AB-1B290B908FC6}"/>
              </a:ext>
            </a:extLst>
          </p:cNvPr>
          <p:cNvGrpSpPr/>
          <p:nvPr/>
        </p:nvGrpSpPr>
        <p:grpSpPr>
          <a:xfrm>
            <a:off x="3877738" y="1012352"/>
            <a:ext cx="1217993" cy="905010"/>
            <a:chOff x="5409282" y="1541545"/>
            <a:chExt cx="1217993" cy="905010"/>
          </a:xfrm>
        </p:grpSpPr>
        <p:pic>
          <p:nvPicPr>
            <p:cNvPr id="1030" name="Picture 6" descr="Computer Logo PNGs for Free Download">
              <a:extLst>
                <a:ext uri="{FF2B5EF4-FFF2-40B4-BE49-F238E27FC236}">
                  <a16:creationId xmlns:a16="http://schemas.microsoft.com/office/drawing/2014/main" id="{F59EED97-25DD-C8EF-7FBB-03EC8305D32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09282" y="1541545"/>
              <a:ext cx="1217993" cy="90501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5" name="Textfeld 14">
              <a:extLst>
                <a:ext uri="{FF2B5EF4-FFF2-40B4-BE49-F238E27FC236}">
                  <a16:creationId xmlns:a16="http://schemas.microsoft.com/office/drawing/2014/main" id="{F91B6AE8-2951-6E0A-8A55-CCEE6DEAA9C0}"/>
                </a:ext>
              </a:extLst>
            </p:cNvPr>
            <p:cNvSpPr txBox="1"/>
            <p:nvPr/>
          </p:nvSpPr>
          <p:spPr>
            <a:xfrm>
              <a:off x="5621480" y="1756110"/>
              <a:ext cx="72334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dirty="0" err="1">
                  <a:solidFill>
                    <a:srgbClr val="FF0000"/>
                  </a:solidFill>
                </a:rPr>
                <a:t>PyRIT</a:t>
              </a:r>
              <a:endParaRPr lang="en-US" b="1" dirty="0">
                <a:solidFill>
                  <a:srgbClr val="FF0000"/>
                </a:solidFill>
              </a:endParaRPr>
            </a:p>
          </p:txBody>
        </p:sp>
      </p:grpSp>
      <p:sp>
        <p:nvSpPr>
          <p:cNvPr id="3" name="Textfeld 2">
            <a:extLst>
              <a:ext uri="{FF2B5EF4-FFF2-40B4-BE49-F238E27FC236}">
                <a16:creationId xmlns:a16="http://schemas.microsoft.com/office/drawing/2014/main" id="{F50A4C32-A313-9995-6574-FF439E5FAAE0}"/>
              </a:ext>
            </a:extLst>
          </p:cNvPr>
          <p:cNvSpPr txBox="1"/>
          <p:nvPr/>
        </p:nvSpPr>
        <p:spPr>
          <a:xfrm>
            <a:off x="9667168" y="1854831"/>
            <a:ext cx="88024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>
                <a:solidFill>
                  <a:srgbClr val="0070C0"/>
                </a:solidFill>
              </a:rPr>
              <a:t>Target LLM</a:t>
            </a:r>
          </a:p>
        </p:txBody>
      </p: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B56BA691-20B9-ADDF-4DEA-596023501CFB}"/>
              </a:ext>
            </a:extLst>
          </p:cNvPr>
          <p:cNvCxnSpPr>
            <a:cxnSpLocks/>
          </p:cNvCxnSpPr>
          <p:nvPr/>
        </p:nvCxnSpPr>
        <p:spPr>
          <a:xfrm>
            <a:off x="1608463" y="2363262"/>
            <a:ext cx="8978747" cy="0"/>
          </a:xfrm>
          <a:prstGeom prst="line">
            <a:avLst/>
          </a:prstGeom>
          <a:ln w="285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hteck: diagonal liegende Ecken abgerundet 22">
            <a:extLst>
              <a:ext uri="{FF2B5EF4-FFF2-40B4-BE49-F238E27FC236}">
                <a16:creationId xmlns:a16="http://schemas.microsoft.com/office/drawing/2014/main" id="{8DA10A20-1F02-1E16-4639-C1A2EAC290B1}"/>
              </a:ext>
            </a:extLst>
          </p:cNvPr>
          <p:cNvSpPr/>
          <p:nvPr/>
        </p:nvSpPr>
        <p:spPr>
          <a:xfrm>
            <a:off x="1463980" y="2610729"/>
            <a:ext cx="9123230" cy="3799464"/>
          </a:xfrm>
          <a:prstGeom prst="round2DiagRect">
            <a:avLst>
              <a:gd name="adj1" fmla="val 6201"/>
              <a:gd name="adj2" fmla="val 0"/>
            </a:avLst>
          </a:prstGeom>
          <a:solidFill>
            <a:schemeClr val="bg2">
              <a:lumMod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r>
              <a:rPr lang="en-US" dirty="0">
                <a:solidFill>
                  <a:sysClr val="windowText" lastClr="000000"/>
                </a:solidFill>
              </a:rPr>
              <a:t>Task_02: </a:t>
            </a:r>
          </a:p>
          <a:p>
            <a:r>
              <a:rPr lang="en-US" dirty="0">
                <a:solidFill>
                  <a:sysClr val="windowText" lastClr="000000"/>
                </a:solidFill>
              </a:rPr>
              <a:t>1- Once you achieved the goal in the „“Task_01“, please go one step further and integrate another component in the flow as shown in the above overview: </a:t>
            </a:r>
          </a:p>
          <a:p>
            <a:endParaRPr lang="en-US" dirty="0">
              <a:solidFill>
                <a:sysClr val="windowText" lastClr="000000"/>
              </a:solidFill>
            </a:endParaRPr>
          </a:p>
          <a:p>
            <a:pPr marL="342900" indent="-342900">
              <a:buAutoNum type="alphaUcParenR"/>
            </a:pPr>
            <a:r>
              <a:rPr lang="en-US" dirty="0">
                <a:solidFill>
                  <a:sysClr val="windowText" lastClr="000000"/>
                </a:solidFill>
              </a:rPr>
              <a:t>Please do the required configurations in the </a:t>
            </a:r>
            <a:r>
              <a:rPr lang="en-US" dirty="0" err="1">
                <a:solidFill>
                  <a:sysClr val="windowText" lastClr="000000"/>
                </a:solidFill>
              </a:rPr>
              <a:t>pyrit</a:t>
            </a:r>
            <a:r>
              <a:rPr lang="en-US" dirty="0">
                <a:solidFill>
                  <a:sysClr val="windowText" lastClr="000000"/>
                </a:solidFill>
              </a:rPr>
              <a:t> framework to work with a new component which is added between the „Target LLM“ and the </a:t>
            </a:r>
            <a:r>
              <a:rPr lang="en-US" dirty="0" err="1">
                <a:solidFill>
                  <a:sysClr val="windowText" lastClr="000000"/>
                </a:solidFill>
              </a:rPr>
              <a:t>PyRIT</a:t>
            </a:r>
            <a:r>
              <a:rPr lang="en-US" dirty="0">
                <a:solidFill>
                  <a:sysClr val="windowText" lastClr="000000"/>
                </a:solidFill>
              </a:rPr>
              <a:t>. </a:t>
            </a:r>
          </a:p>
          <a:p>
            <a:pPr marL="342900" indent="-342900">
              <a:buAutoNum type="alphaUcParenR"/>
            </a:pPr>
            <a:r>
              <a:rPr lang="en-US" dirty="0">
                <a:solidFill>
                  <a:sysClr val="windowText" lastClr="000000"/>
                </a:solidFill>
              </a:rPr>
              <a:t>This would require a wrapper class around the additional component which would </a:t>
            </a:r>
            <a:r>
              <a:rPr lang="en-US" dirty="0" err="1">
                <a:solidFill>
                  <a:sysClr val="windowText" lastClr="000000"/>
                </a:solidFill>
              </a:rPr>
              <a:t>allowe</a:t>
            </a:r>
            <a:r>
              <a:rPr lang="en-US" dirty="0">
                <a:solidFill>
                  <a:sysClr val="windowText" lastClr="000000"/>
                </a:solidFill>
              </a:rPr>
              <a:t> the flow to establish. </a:t>
            </a:r>
          </a:p>
          <a:p>
            <a:r>
              <a:rPr lang="en-US" dirty="0">
                <a:solidFill>
                  <a:sysClr val="windowText" lastClr="000000"/>
                </a:solidFill>
              </a:rPr>
              <a:t>Note: if you don‘t have access to any Azure OpenAI “</a:t>
            </a:r>
            <a:r>
              <a:rPr lang="en-US" dirty="0" err="1">
                <a:solidFill>
                  <a:sysClr val="windowText" lastClr="000000"/>
                </a:solidFill>
              </a:rPr>
              <a:t>EndPoint</a:t>
            </a:r>
            <a:r>
              <a:rPr lang="en-US" dirty="0">
                <a:solidFill>
                  <a:sysClr val="windowText" lastClr="000000"/>
                </a:solidFill>
              </a:rPr>
              <a:t>“ and “API Key“ please just show how the scripts for such a flow will be looking like -&gt; no real execution of the script in this case would be required. </a:t>
            </a:r>
          </a:p>
          <a:p>
            <a:r>
              <a:rPr lang="en-US" dirty="0">
                <a:solidFill>
                  <a:sysClr val="windowText" lastClr="000000"/>
                </a:solidFill>
              </a:rPr>
              <a:t>Please refer to the following link to access the </a:t>
            </a:r>
            <a:r>
              <a:rPr lang="en-US" dirty="0" err="1">
                <a:solidFill>
                  <a:sysClr val="windowText" lastClr="000000"/>
                </a:solidFill>
              </a:rPr>
              <a:t>PyRIT‘s</a:t>
            </a:r>
            <a:r>
              <a:rPr lang="en-US" dirty="0">
                <a:solidFill>
                  <a:sysClr val="windowText" lastClr="000000"/>
                </a:solidFill>
              </a:rPr>
              <a:t> </a:t>
            </a:r>
            <a:r>
              <a:rPr lang="en-US" dirty="0" err="1">
                <a:solidFill>
                  <a:sysClr val="windowText" lastClr="000000"/>
                </a:solidFill>
              </a:rPr>
              <a:t>github</a:t>
            </a:r>
            <a:r>
              <a:rPr lang="en-US" dirty="0">
                <a:solidFill>
                  <a:sysClr val="windowText" lastClr="000000"/>
                </a:solidFill>
              </a:rPr>
              <a:t> account. </a:t>
            </a:r>
          </a:p>
          <a:p>
            <a:r>
              <a:rPr lang="en-US" dirty="0">
                <a:solidFill>
                  <a:sysClr val="windowText" lastClr="000000"/>
                </a:solidFill>
              </a:rPr>
              <a:t>https://github.com/Azure/PyRIT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3BFEBC22-DB7D-18F5-C7DF-DEA8CDA5FEAC}"/>
              </a:ext>
            </a:extLst>
          </p:cNvPr>
          <p:cNvSpPr txBox="1"/>
          <p:nvPr/>
        </p:nvSpPr>
        <p:spPr>
          <a:xfrm>
            <a:off x="1330489" y="1745752"/>
            <a:ext cx="101720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>
                <a:solidFill>
                  <a:srgbClr val="0070C0"/>
                </a:solidFill>
              </a:rPr>
              <a:t>Attacker LLM</a:t>
            </a:r>
          </a:p>
        </p:txBody>
      </p:sp>
      <p:pic>
        <p:nvPicPr>
          <p:cNvPr id="2050" name="Picture 2" descr="Open Component Model | Open Component Model">
            <a:extLst>
              <a:ext uri="{FF2B5EF4-FFF2-40B4-BE49-F238E27FC236}">
                <a16:creationId xmlns:a16="http://schemas.microsoft.com/office/drawing/2014/main" id="{934F223E-B378-0439-C0A8-BC9B1FBD76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2232" y="966217"/>
            <a:ext cx="998435" cy="9972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8" name="Gerade Verbindung mit Pfeil 37">
            <a:extLst>
              <a:ext uri="{FF2B5EF4-FFF2-40B4-BE49-F238E27FC236}">
                <a16:creationId xmlns:a16="http://schemas.microsoft.com/office/drawing/2014/main" id="{E882C533-D7DF-698F-2972-561D90C31FB9}"/>
              </a:ext>
            </a:extLst>
          </p:cNvPr>
          <p:cNvCxnSpPr>
            <a:cxnSpLocks/>
          </p:cNvCxnSpPr>
          <p:nvPr/>
        </p:nvCxnSpPr>
        <p:spPr>
          <a:xfrm flipH="1" flipV="1">
            <a:off x="5215709" y="1564395"/>
            <a:ext cx="1493860" cy="16935"/>
          </a:xfrm>
          <a:prstGeom prst="straightConnector1">
            <a:avLst/>
          </a:prstGeom>
          <a:ln w="28575"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feld 40">
            <a:extLst>
              <a:ext uri="{FF2B5EF4-FFF2-40B4-BE49-F238E27FC236}">
                <a16:creationId xmlns:a16="http://schemas.microsoft.com/office/drawing/2014/main" id="{A4C5D7A8-33E7-4E33-FDF3-305EF52F6FCA}"/>
              </a:ext>
            </a:extLst>
          </p:cNvPr>
          <p:cNvSpPr txBox="1"/>
          <p:nvPr/>
        </p:nvSpPr>
        <p:spPr>
          <a:xfrm>
            <a:off x="2446423" y="1287396"/>
            <a:ext cx="137935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>
                <a:solidFill>
                  <a:srgbClr val="0070C0"/>
                </a:solidFill>
              </a:rPr>
              <a:t>Prompt generated</a:t>
            </a:r>
          </a:p>
        </p:txBody>
      </p:sp>
      <p:sp>
        <p:nvSpPr>
          <p:cNvPr id="42" name="Textfeld 41">
            <a:extLst>
              <a:ext uri="{FF2B5EF4-FFF2-40B4-BE49-F238E27FC236}">
                <a16:creationId xmlns:a16="http://schemas.microsoft.com/office/drawing/2014/main" id="{C26E5C86-A73E-6E7B-91F9-7A9D4F4D53AB}"/>
              </a:ext>
            </a:extLst>
          </p:cNvPr>
          <p:cNvSpPr txBox="1"/>
          <p:nvPr/>
        </p:nvSpPr>
        <p:spPr>
          <a:xfrm>
            <a:off x="5399904" y="1287396"/>
            <a:ext cx="121270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>
                <a:solidFill>
                  <a:srgbClr val="0070C0"/>
                </a:solidFill>
              </a:rPr>
              <a:t>Prompt injected</a:t>
            </a:r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502DFFFC-8CD9-0BF1-B1E7-B90683678A93}"/>
              </a:ext>
            </a:extLst>
          </p:cNvPr>
          <p:cNvSpPr txBox="1"/>
          <p:nvPr/>
        </p:nvSpPr>
        <p:spPr>
          <a:xfrm>
            <a:off x="8025221" y="1287396"/>
            <a:ext cx="178638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>
                <a:solidFill>
                  <a:srgbClr val="0070C0"/>
                </a:solidFill>
              </a:rPr>
              <a:t>Prompt send to </a:t>
            </a:r>
            <a:r>
              <a:rPr lang="en-US" sz="1200" b="1" dirty="0" err="1">
                <a:solidFill>
                  <a:srgbClr val="0070C0"/>
                </a:solidFill>
              </a:rPr>
              <a:t>chaptbot</a:t>
            </a:r>
            <a:endParaRPr lang="en-US" sz="1200" b="1" dirty="0">
              <a:solidFill>
                <a:srgbClr val="0070C0"/>
              </a:solidFill>
            </a:endParaRPr>
          </a:p>
        </p:txBody>
      </p:sp>
      <p:sp>
        <p:nvSpPr>
          <p:cNvPr id="44" name="Textfeld 43">
            <a:extLst>
              <a:ext uri="{FF2B5EF4-FFF2-40B4-BE49-F238E27FC236}">
                <a16:creationId xmlns:a16="http://schemas.microsoft.com/office/drawing/2014/main" id="{ACA40B6C-19D6-C502-40E6-EE3F525AD65B}"/>
              </a:ext>
            </a:extLst>
          </p:cNvPr>
          <p:cNvSpPr txBox="1"/>
          <p:nvPr/>
        </p:nvSpPr>
        <p:spPr>
          <a:xfrm>
            <a:off x="7813469" y="971061"/>
            <a:ext cx="228902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>
                <a:solidFill>
                  <a:srgbClr val="0070C0"/>
                </a:solidFill>
              </a:rPr>
              <a:t>Prompt answered by the chatbot</a:t>
            </a:r>
          </a:p>
        </p:txBody>
      </p:sp>
      <p:cxnSp>
        <p:nvCxnSpPr>
          <p:cNvPr id="46" name="Gerade Verbindung mit Pfeil 45">
            <a:extLst>
              <a:ext uri="{FF2B5EF4-FFF2-40B4-BE49-F238E27FC236}">
                <a16:creationId xmlns:a16="http://schemas.microsoft.com/office/drawing/2014/main" id="{CB3D343A-4FC6-5E6D-395A-495C83CA45FD}"/>
              </a:ext>
            </a:extLst>
          </p:cNvPr>
          <p:cNvCxnSpPr>
            <a:cxnSpLocks/>
          </p:cNvCxnSpPr>
          <p:nvPr/>
        </p:nvCxnSpPr>
        <p:spPr>
          <a:xfrm flipH="1">
            <a:off x="5129550" y="1277957"/>
            <a:ext cx="1755775" cy="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feld 46">
            <a:extLst>
              <a:ext uri="{FF2B5EF4-FFF2-40B4-BE49-F238E27FC236}">
                <a16:creationId xmlns:a16="http://schemas.microsoft.com/office/drawing/2014/main" id="{D3A00D14-4CCB-EAEC-4746-13E12E9A16A1}"/>
              </a:ext>
            </a:extLst>
          </p:cNvPr>
          <p:cNvSpPr txBox="1"/>
          <p:nvPr/>
        </p:nvSpPr>
        <p:spPr>
          <a:xfrm>
            <a:off x="5158534" y="971061"/>
            <a:ext cx="148059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>
                <a:solidFill>
                  <a:srgbClr val="0070C0"/>
                </a:solidFill>
              </a:rPr>
              <a:t>Answer sent to </a:t>
            </a:r>
            <a:r>
              <a:rPr lang="en-US" sz="1200" b="1" dirty="0" err="1">
                <a:solidFill>
                  <a:srgbClr val="0070C0"/>
                </a:solidFill>
              </a:rPr>
              <a:t>pyrit</a:t>
            </a:r>
            <a:endParaRPr lang="en-US" sz="1200" b="1" dirty="0">
              <a:solidFill>
                <a:srgbClr val="0070C0"/>
              </a:solidFill>
            </a:endParaRPr>
          </a:p>
        </p:txBody>
      </p:sp>
      <p:cxnSp>
        <p:nvCxnSpPr>
          <p:cNvPr id="48" name="Gerade Verbindung mit Pfeil 47">
            <a:extLst>
              <a:ext uri="{FF2B5EF4-FFF2-40B4-BE49-F238E27FC236}">
                <a16:creationId xmlns:a16="http://schemas.microsoft.com/office/drawing/2014/main" id="{09517E05-DB6B-B9D5-489B-394BD6C8D341}"/>
              </a:ext>
            </a:extLst>
          </p:cNvPr>
          <p:cNvCxnSpPr>
            <a:cxnSpLocks/>
          </p:cNvCxnSpPr>
          <p:nvPr/>
        </p:nvCxnSpPr>
        <p:spPr>
          <a:xfrm flipH="1">
            <a:off x="2187491" y="1277957"/>
            <a:ext cx="1638284" cy="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feld 48">
            <a:extLst>
              <a:ext uri="{FF2B5EF4-FFF2-40B4-BE49-F238E27FC236}">
                <a16:creationId xmlns:a16="http://schemas.microsoft.com/office/drawing/2014/main" id="{B68361C7-78FF-0093-0775-2C1F5BE804C4}"/>
              </a:ext>
            </a:extLst>
          </p:cNvPr>
          <p:cNvSpPr txBox="1"/>
          <p:nvPr/>
        </p:nvSpPr>
        <p:spPr>
          <a:xfrm>
            <a:off x="2216475" y="971061"/>
            <a:ext cx="148059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>
                <a:solidFill>
                  <a:srgbClr val="0070C0"/>
                </a:solidFill>
              </a:rPr>
              <a:t>Answer sent to </a:t>
            </a:r>
            <a:r>
              <a:rPr lang="en-US" sz="1200" b="1" dirty="0" err="1">
                <a:solidFill>
                  <a:srgbClr val="0070C0"/>
                </a:solidFill>
              </a:rPr>
              <a:t>pyrit</a:t>
            </a:r>
            <a:endParaRPr lang="en-US" sz="1200" b="1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37410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fe4bc684-102f-461d-a6dc-b1e58752f380}" enabled="1" method="Standard" siteId="{2d75a51b-29e5-45d5-a5c5-5aa979cb6a28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40</Words>
  <Application>Microsoft Office PowerPoint</Application>
  <PresentationFormat>Widescreen</PresentationFormat>
  <Paragraphs>31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7" baseType="lpstr">
      <vt:lpstr>Arial</vt:lpstr>
      <vt:lpstr>Calibri</vt:lpstr>
      <vt:lpstr>Calibri Light</vt:lpstr>
      <vt:lpstr>Office</vt:lpstr>
      <vt:lpstr>think-cell Folie</vt:lpstr>
      <vt:lpstr>PowerPoint Presentation</vt:lpstr>
      <vt:lpstr>PowerPoint Presentation</vt:lpstr>
    </vt:vector>
  </TitlesOfParts>
  <Company>Commerzbank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nual Red Teaming Process</dc:title>
  <dc:creator>Leonhardt, Marc</dc:creator>
  <cp:lastModifiedBy>Riswan Basha S</cp:lastModifiedBy>
  <cp:revision>4</cp:revision>
  <dcterms:created xsi:type="dcterms:W3CDTF">2024-04-18T12:13:02Z</dcterms:created>
  <dcterms:modified xsi:type="dcterms:W3CDTF">2024-05-30T15:44:57Z</dcterms:modified>
</cp:coreProperties>
</file>